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672" autoAdjust="0"/>
    <p:restoredTop sz="49689" autoAdjust="0"/>
  </p:normalViewPr>
  <p:slideViewPr>
    <p:cSldViewPr snapToGrid="0">
      <p:cViewPr varScale="1">
        <p:scale>
          <a:sx n="60" d="100"/>
          <a:sy n="60" d="100"/>
        </p:scale>
        <p:origin x="211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0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1" y="3271103"/>
            <a:ext cx="7942238" cy="26764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n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proces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and </a:t>
            </a:r>
            <a:r>
              <a:rPr lang="de-CH" dirty="0" err="1"/>
              <a:t>hold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 in an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r>
              <a:rPr lang="de-CH" dirty="0"/>
              <a:t>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 </a:t>
            </a:r>
            <a:r>
              <a:rPr lang="de-CH" dirty="0" err="1"/>
              <a:t>singl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-fragment.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 jus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a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enerating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/>
              <a:t>true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C774D972-4550-0123-44AB-7588F0423FE5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</a:t>
            </a:r>
            <a:endParaRPr lang="en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C93E8C-4D19-B449-2D23-154B7F12324F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5" grpId="0" animBg="1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dk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3978562" y="3467968"/>
            <a:ext cx="632737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	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1 !=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2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  		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: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ma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use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o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Online Eval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>
                    <a:lumMod val="75000"/>
                  </a:schemeClr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>
                  <a:lumMod val="75000"/>
                </a:schemeClr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08</Words>
  <Application>Microsoft Office PowerPoint</Application>
  <PresentationFormat>Widescreen</PresentationFormat>
  <Paragraphs>546</Paragraphs>
  <Slides>57</Slides>
  <Notes>44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Online Eval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55</cp:revision>
  <dcterms:created xsi:type="dcterms:W3CDTF">2019-10-15T07:31:09Z</dcterms:created>
  <dcterms:modified xsi:type="dcterms:W3CDTF">2024-08-30T09:02:10Z</dcterms:modified>
</cp:coreProperties>
</file>